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331" r:id="rId5"/>
    <p:sldId id="258" r:id="rId6"/>
    <p:sldId id="321" r:id="rId7"/>
    <p:sldId id="301" r:id="rId8"/>
    <p:sldId id="330" r:id="rId9"/>
    <p:sldId id="329" r:id="rId10"/>
    <p:sldId id="275" r:id="rId11"/>
    <p:sldId id="328" r:id="rId12"/>
    <p:sldId id="306" r:id="rId13"/>
    <p:sldId id="322" r:id="rId14"/>
    <p:sldId id="323" r:id="rId15"/>
    <p:sldId id="324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58" autoAdjust="0"/>
    <p:restoredTop sz="94660"/>
  </p:normalViewPr>
  <p:slideViewPr>
    <p:cSldViewPr>
      <p:cViewPr varScale="1">
        <p:scale>
          <a:sx n="87" d="100"/>
          <a:sy n="87" d="100"/>
        </p:scale>
        <p:origin x="936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3/1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3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3/1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March 15, 2017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DEFECT%20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TestCaseFinal.xlsx" TargetMode="External"/><Relationship Id="rId4" Type="http://schemas.openxmlformats.org/officeDocument/2006/relationships/hyperlink" Target="Data_Sheet.xl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858837" y="707625"/>
            <a:ext cx="828516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DemoCart – Currency and AddressBook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9.09 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0.90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98.14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01.85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defaul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Without 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92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 A programmer while designing and building the software can make mistakes or error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mistakes or errors mean that there are flaws in the software. These are called defects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defects are captured in a defect re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anmoy Biswas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103307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Ishan Gupta				                  103263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Swagata Das				                  103202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Deeksha Gupta					103264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Manali Garg					103282	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Bhawna Rajput					103189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Manvi Sehgal					103305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Aditya Kaushik 			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103173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The OpenCart demo sto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application.</a:t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Projec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  <a:b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u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for adding the electronic device to the cart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the currency according to his preference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Currency change and adding to cart-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the item to the cart whenever we click on add to cart button after selecting a preferred currency 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add to cart are :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 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selectCurrency() – selects the currency according to data_sheet.()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ToCartHomePage() – according to data_sheet adds the product to the car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ShoppingCart() – redirects to the shopping cart page</a:t>
            </a:r>
          </a:p>
          <a:p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ActualResultMatching()- comparing the currency of the total amount with the preferred currency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ition of new address in Address Book-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Adds new address in the Address book Entries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browser as per the data_sheet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login page of the site </a:t>
            </a: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AddressBook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irects the user to the Address book entries page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FillNewAddressDetails() – Directs to the new address page and </a:t>
            </a:r>
            <a:r>
              <a:rPr lang="en-US" b="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fillsup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 it according to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164933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Change in preferred Currency can not be retained by the website after re-login the website in different brows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not be added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grating test cases, defects within one file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Handling data sheet and object repository in .xlsx format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3284503"/>
              </p:ext>
            </p:extLst>
          </p:nvPr>
        </p:nvGraphicFramePr>
        <p:xfrm>
          <a:off x="0" y="1524000"/>
          <a:ext cx="91440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614"/>
                <a:gridCol w="1306378"/>
                <a:gridCol w="1306378"/>
                <a:gridCol w="1075840"/>
                <a:gridCol w="1161223"/>
                <a:gridCol w="913612"/>
                <a:gridCol w="845303"/>
                <a:gridCol w="1005452"/>
                <a:gridCol w="838200"/>
              </a:tblGrid>
              <a:tr h="1132114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9248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0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6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52846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0</TotalTime>
  <Words>364</Words>
  <Application>Microsoft Office PowerPoint</Application>
  <PresentationFormat>On-screen Show (4:3)</PresentationFormat>
  <Paragraphs>142</Paragraphs>
  <Slides>1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Baskerville Old Face</vt:lpstr>
      <vt:lpstr>Calibri</vt:lpstr>
      <vt:lpstr>Candara</vt:lpstr>
      <vt:lpstr>Century Gothic</vt:lpstr>
      <vt:lpstr>Courier New</vt:lpstr>
      <vt:lpstr>ＭＳ Ｐゴシック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Object Repository </vt:lpstr>
      <vt:lpstr>DFDR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Gupta, Ishan</cp:lastModifiedBy>
  <cp:revision>177</cp:revision>
  <dcterms:created xsi:type="dcterms:W3CDTF">2015-08-27T08:52:20Z</dcterms:created>
  <dcterms:modified xsi:type="dcterms:W3CDTF">2017-03-15T06:00:05Z</dcterms:modified>
</cp:coreProperties>
</file>